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424" r:id="rId3"/>
    <p:sldMasterId id="2147485446" r:id="rId4"/>
    <p:sldMasterId id="2147485456" r:id="rId5"/>
    <p:sldMasterId id="2147485490" r:id="rId6"/>
  </p:sldMasterIdLst>
  <p:notesMasterIdLst>
    <p:notesMasterId r:id="rId13"/>
  </p:notesMasterIdLst>
  <p:handoutMasterIdLst>
    <p:handoutMasterId r:id="rId14"/>
  </p:handoutMasterIdLst>
  <p:sldIdLst>
    <p:sldId id="512" r:id="rId7"/>
    <p:sldId id="513" r:id="rId8"/>
    <p:sldId id="514" r:id="rId9"/>
    <p:sldId id="515" r:id="rId10"/>
    <p:sldId id="516" r:id="rId11"/>
    <p:sldId id="518" r:id="rId12"/>
  </p:sldIdLst>
  <p:sldSz cx="12192000" cy="6858000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67669" autoAdjust="0"/>
  </p:normalViewPr>
  <p:slideViewPr>
    <p:cSldViewPr snapToGrid="0" snapToObjects="1">
      <p:cViewPr varScale="1">
        <p:scale>
          <a:sx n="64" d="100"/>
          <a:sy n="64" d="100"/>
        </p:scale>
        <p:origin x="102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5/1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5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39775"/>
            <a:ext cx="658018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B17A6-8FF8-405B-9CCE-AE6A392A6C0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05696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jpe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1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2016831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2033564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922684" y="6107114"/>
            <a:ext cx="3401483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306742"/>
            <a:ext cx="401452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295616"/>
            <a:ext cx="6942667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789" y="288637"/>
            <a:ext cx="11425544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0455" y="1443790"/>
            <a:ext cx="7076351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8125" y="1003049"/>
            <a:ext cx="4117137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830234" y="976313"/>
            <a:ext cx="7058749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912" y="1788583"/>
            <a:ext cx="5511031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6209904" y="1788510"/>
            <a:ext cx="5510784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475912" y="1429561"/>
            <a:ext cx="5511031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6209905" y="1421540"/>
            <a:ext cx="5510784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4557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79072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51256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7460628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97955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11252869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80465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35321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62013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62013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62013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62013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3095344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926010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910822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910822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910822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910822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546858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5299252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528406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528406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528406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528406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7817477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7648144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7632955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7632955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7632955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7632955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10181948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10012615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9997426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9997426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9997426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9997426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4654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80040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51353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7470304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98052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81433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64499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62980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62980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62980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62980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3105020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93568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920498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920498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920498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920498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547826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5308928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529373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529373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529373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529373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7827153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7657820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7642631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7642631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7642631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7642631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10191624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10022291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10007102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10007102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10007102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10007102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4064002"/>
            <a:ext cx="530523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128685" y="5302250"/>
            <a:ext cx="7063316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3075216"/>
            <a:ext cx="530523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7" y="1132417"/>
            <a:ext cx="11260667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1"/>
            <a:ext cx="12192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2016831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2033564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922684" y="6107114"/>
            <a:ext cx="3401483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462845" y="114088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468489" y="371686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6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154547" y="1306550"/>
            <a:ext cx="9728968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134806" y="3074089"/>
            <a:ext cx="9771695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6373" y="968964"/>
            <a:ext cx="11372849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1" y="0"/>
            <a:ext cx="12224225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401" y="6667500"/>
            <a:ext cx="36575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3454400" y="649287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5"/>
            <a:ext cx="27432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17" y="1590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90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260352"/>
            <a:ext cx="113284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31801" y="852040"/>
            <a:ext cx="113284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2" y="6459787"/>
            <a:ext cx="2472271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8/5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159329"/>
            <a:ext cx="1130300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6"/>
            <a:ext cx="12192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861340" y="1189790"/>
            <a:ext cx="938596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878236" y="3000005"/>
            <a:ext cx="9369065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622118" y="6116639"/>
            <a:ext cx="3625849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1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2016831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2033564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922684" y="6107114"/>
            <a:ext cx="3401483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9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68676" y="215920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93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65364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45384" y="215920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9401565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739078" y="353503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75913" y="301625"/>
            <a:ext cx="953796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75913" y="1599260"/>
            <a:ext cx="11253740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75913" y="1025408"/>
            <a:ext cx="11247297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09402" y="130491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811658"/>
            <a:ext cx="401452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811658"/>
            <a:ext cx="6942667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45384" y="1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288637"/>
            <a:ext cx="9606461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82372" y="1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790" y="288637"/>
            <a:ext cx="9505537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0455" y="1443790"/>
            <a:ext cx="7076351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8125" y="1003049"/>
            <a:ext cx="4117137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830234" y="976313"/>
            <a:ext cx="7058749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75264" y="1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7475"/>
            <a:ext cx="956536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912" y="1788583"/>
            <a:ext cx="5511031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6209904" y="1788510"/>
            <a:ext cx="5510784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475912" y="1429561"/>
            <a:ext cx="5511031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6209905" y="1421540"/>
            <a:ext cx="5510784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45384" y="376532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75913" y="301625"/>
            <a:ext cx="9469472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75913" y="1845423"/>
            <a:ext cx="11253740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75913" y="1204562"/>
            <a:ext cx="11247297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99" r="16177" b="51577"/>
          <a:stretch/>
        </p:blipFill>
        <p:spPr>
          <a:xfrm>
            <a:off x="9998765" y="151891"/>
            <a:ext cx="1724445" cy="876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4557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79072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51256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7460628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97955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11252869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80465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35321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62013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62013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62013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62013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3095344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926010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910822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910822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910822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910822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546858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5299252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528406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528406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528406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528406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7817477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7648144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7632955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7632955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7632955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7632955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10181948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10012615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9997426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9997426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9997426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9997426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4654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80040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51353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7470304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98052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81433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64499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62980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62980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62980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62980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3105020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93568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920498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920498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920498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920498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547826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5308928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529373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529373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529373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529373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7827153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7657820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7642631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7642631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7642631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7642631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10191624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10022291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10007102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10007102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10007102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10007102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4064002"/>
            <a:ext cx="530523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128685" y="5302250"/>
            <a:ext cx="7063316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3075216"/>
            <a:ext cx="530523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7" y="1132417"/>
            <a:ext cx="11260667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462845" y="114088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468489" y="371686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6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154547" y="1306550"/>
            <a:ext cx="9728968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134806" y="3074089"/>
            <a:ext cx="9771695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6373" y="968964"/>
            <a:ext cx="11372849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75" r="8818" b="53458"/>
          <a:stretch/>
        </p:blipFill>
        <p:spPr>
          <a:xfrm>
            <a:off x="10124661" y="215921"/>
            <a:ext cx="1981200" cy="84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28600"/>
            <a:ext cx="109728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1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2016831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2033564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922684" y="6107114"/>
            <a:ext cx="3401483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3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1"/>
            <a:ext cx="12192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139AF0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2016831" y="1189790"/>
            <a:ext cx="9295741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2033564" y="3000005"/>
            <a:ext cx="9279009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922684" y="6107114"/>
            <a:ext cx="3401483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0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1"/>
            <a:ext cx="12192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6"/>
            <a:ext cx="12192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861340" y="1189790"/>
            <a:ext cx="938596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878236" y="3000005"/>
            <a:ext cx="9369065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677334" y="4699001"/>
            <a:ext cx="6745111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7576097" y="4699002"/>
            <a:ext cx="376156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7622118" y="6116639"/>
            <a:ext cx="3625849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21F43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9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25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44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11252869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2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75913" y="301625"/>
            <a:ext cx="11252649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75913" y="1599260"/>
            <a:ext cx="11253740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75913" y="1025408"/>
            <a:ext cx="11247297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89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306742"/>
            <a:ext cx="401452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295616"/>
            <a:ext cx="6942667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9609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14" r="8255" b="53458"/>
          <a:stretch/>
        </p:blipFill>
        <p:spPr>
          <a:xfrm>
            <a:off x="10104967" y="215921"/>
            <a:ext cx="2020772" cy="842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1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423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789" y="288637"/>
            <a:ext cx="11425544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0455" y="1443790"/>
            <a:ext cx="7076351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8125" y="1003049"/>
            <a:ext cx="4117137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830234" y="976313"/>
            <a:ext cx="7058749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7294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912" y="1788583"/>
            <a:ext cx="5511031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6209904" y="1788510"/>
            <a:ext cx="5510784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475912" y="1429561"/>
            <a:ext cx="5511031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6209905" y="1421540"/>
            <a:ext cx="5510784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379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6127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3769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4557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79072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51256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7460628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97955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11252869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80465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35321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62013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62013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62013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62013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3095344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926010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910822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910822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910822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910822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546858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5299252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528406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528406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528406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528406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7817477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7648144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7632955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7632955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7632955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7632955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10181948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10012615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9997426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9997426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9997426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9997426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4654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80040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51353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7470304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98052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81433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64499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62980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62980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62980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62980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3105020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93568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920498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920498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920498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920498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547826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5308928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529373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529373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529373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529373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7827153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7657820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7642631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7642631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7642631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7642631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10191624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10022291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10007102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10007102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10007102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10007102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47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4064002"/>
            <a:ext cx="530523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860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128685" y="5302250"/>
            <a:ext cx="7063316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3075216"/>
            <a:ext cx="530523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5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7" y="1132417"/>
            <a:ext cx="11260667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654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322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68676" y="215920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853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462845" y="114088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468489" y="371686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0768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6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154547" y="1306550"/>
            <a:ext cx="9728968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134806" y="3074089"/>
            <a:ext cx="9771695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812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6373" y="968964"/>
            <a:ext cx="11372849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1579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228600"/>
            <a:ext cx="109728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22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0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598613"/>
            <a:ext cx="1130300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050842" y="6356351"/>
            <a:ext cx="5710621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68676" y="215920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57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9233" y="6287452"/>
            <a:ext cx="2078567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68676" y="215920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75913" y="301625"/>
            <a:ext cx="9469472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75913" y="1845423"/>
            <a:ext cx="11253740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75913" y="1204562"/>
            <a:ext cx="11247297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45384" y="151891"/>
            <a:ext cx="1931541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9233" y="6287452"/>
            <a:ext cx="2078567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826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5912" y="306742"/>
            <a:ext cx="401452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295616"/>
            <a:ext cx="6942667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5877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57869" y="1460501"/>
            <a:ext cx="11253740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9592763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10068676" y="215920"/>
            <a:ext cx="1931541" cy="92811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C09118-7A22-4BC9-B902-C4F9EC943EE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86884" y="6502400"/>
            <a:ext cx="1219200" cy="9144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7" y="983838"/>
            <a:ext cx="6942667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992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789" y="288637"/>
            <a:ext cx="11425544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0455" y="1443790"/>
            <a:ext cx="7076351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8125" y="1003049"/>
            <a:ext cx="4117137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830234" y="976313"/>
            <a:ext cx="7058749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02691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912" y="1788583"/>
            <a:ext cx="5511031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6209904" y="1788510"/>
            <a:ext cx="5510784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475912" y="1429561"/>
            <a:ext cx="5511031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6209905" y="1421540"/>
            <a:ext cx="5510784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7735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2752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46364"/>
            <a:ext cx="4194123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0666" y="346365"/>
            <a:ext cx="6889193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0945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4557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79072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51256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7460628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9795579" y="3721342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57868" y="301626"/>
            <a:ext cx="11252869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80465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635321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62013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62013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62013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62013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3095344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926010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910822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910822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910822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910822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5468585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5299252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5284063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5284063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5284063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5284063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7817477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7648144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7632955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7632955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7632955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7632955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10181948" y="3775118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10012615" y="4049121"/>
            <a:ext cx="1583267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9997426" y="459973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9997426" y="487373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9997426" y="5147738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9997426" y="541267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4654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80040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51353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7470304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9805255" y="1370028"/>
            <a:ext cx="1942352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81433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64499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62980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62980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62980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62980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3105020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935687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920498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920498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920498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920498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5478261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5308928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5293739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5293739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5293739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5293739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7827153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7657820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7642631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7642631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7642631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7642631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10191624" y="1423804"/>
            <a:ext cx="124460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10022291" y="1697806"/>
            <a:ext cx="1583267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10007102" y="2248420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10007102" y="2522422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10007102" y="2796424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10007102" y="3061356"/>
            <a:ext cx="1613647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35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4064002"/>
            <a:ext cx="530523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83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5128685" y="5302250"/>
            <a:ext cx="7063316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95089" y="3075216"/>
            <a:ext cx="530523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980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7" y="1132417"/>
            <a:ext cx="11260667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6071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0551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8506884" y="615951"/>
            <a:ext cx="1352549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9880600" y="3175"/>
            <a:ext cx="950384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475913" y="301625"/>
            <a:ext cx="9469472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475913" y="1845423"/>
            <a:ext cx="11253740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75913" y="1204562"/>
            <a:ext cx="11247297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9945384" y="151891"/>
            <a:ext cx="1931541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65668" y="1147233"/>
            <a:ext cx="5545665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0578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2" y="307475"/>
            <a:ext cx="11213472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6143978" y="114723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6149622" y="372321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462845" y="1140883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468489" y="3716867"/>
            <a:ext cx="5545665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4084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645585" y="617539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645585" y="617539"/>
            <a:ext cx="2116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649818" y="617539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611718" y="473075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611718" y="463551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937685" y="514350"/>
            <a:ext cx="4233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941918" y="479425"/>
            <a:ext cx="2116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924985" y="460376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912285" y="4476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912285" y="447676"/>
            <a:ext cx="4233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886885" y="43497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886885" y="431801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814917" y="415926"/>
            <a:ext cx="8467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776818" y="476251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742952" y="534989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747185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759885" y="52070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793751" y="55721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793752" y="557214"/>
            <a:ext cx="4233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793751" y="627064"/>
            <a:ext cx="2116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793751" y="6270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975785" y="54133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975785" y="541339"/>
            <a:ext cx="4233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9630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971551" y="544514"/>
            <a:ext cx="2116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971551" y="541339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971552" y="538164"/>
            <a:ext cx="4233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967318" y="547689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975785" y="530225"/>
            <a:ext cx="4233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975785" y="527050"/>
            <a:ext cx="4233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950385" y="550864"/>
            <a:ext cx="4233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963085" y="550864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963085" y="550864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971551" y="534989"/>
            <a:ext cx="2116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971552" y="530226"/>
            <a:ext cx="4233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971551" y="530225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971551" y="530225"/>
            <a:ext cx="2116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971551" y="527050"/>
            <a:ext cx="2116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971551" y="523876"/>
            <a:ext cx="2116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958852" y="514350"/>
            <a:ext cx="4233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958852" y="517526"/>
            <a:ext cx="4233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 sz="1600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632885" y="4953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624418" y="508000"/>
            <a:ext cx="2116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620185" y="485776"/>
            <a:ext cx="2116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6"/>
            <a:ext cx="12192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154547" y="1306550"/>
            <a:ext cx="9728968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134806" y="3074089"/>
            <a:ext cx="9771695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168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1" y="288637"/>
            <a:ext cx="11377423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466373" y="968964"/>
            <a:ext cx="11372849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7230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5755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1" y="0"/>
            <a:ext cx="12224225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4401" y="6667500"/>
            <a:ext cx="36575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3454400" y="649287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5"/>
            <a:ext cx="27432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1679234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17" y="1590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7" y="1590"/>
                        <a:ext cx="201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1" y="260352"/>
            <a:ext cx="113284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31801" y="852040"/>
            <a:ext cx="113284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627028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2" y="6459787"/>
            <a:ext cx="2472271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8/5/1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83484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12192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913" y="301627"/>
            <a:ext cx="11282705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5667" y="1159329"/>
            <a:ext cx="1130300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24704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image" Target="../media/image8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image" Target="../media/image8.jpeg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871538"/>
            <a:ext cx="103632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797300" y="6356351"/>
            <a:ext cx="74676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912284" y="6329364"/>
            <a:ext cx="28448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8" r:id="rId5"/>
    <p:sldLayoutId id="2147485514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10919884" y="6323014"/>
            <a:ext cx="465667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11394017" y="6146800"/>
            <a:ext cx="328083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2" y="301625"/>
            <a:ext cx="11281833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1" y="1697039"/>
            <a:ext cx="11305116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11578167" y="6207125"/>
            <a:ext cx="1847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60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A9660D9-7752-489B-BDF8-9A9060DE1D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901115" y="6154256"/>
            <a:ext cx="5694815" cy="548640"/>
            <a:chOff x="47624" y="5908127"/>
            <a:chExt cx="3636873" cy="467170"/>
          </a:xfrm>
        </p:grpSpPr>
        <p:pic>
          <p:nvPicPr>
            <p:cNvPr id="12" name="Picture 6">
              <a:extLst>
                <a:ext uri="{FF2B5EF4-FFF2-40B4-BE49-F238E27FC236}">
                  <a16:creationId xmlns:a16="http://schemas.microsoft.com/office/drawing/2014/main" id="{652F06F5-5C03-436A-8D4A-6B06BB9F17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9952" y="5947058"/>
              <a:ext cx="1984545" cy="389308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BD4770F-3544-4585-900C-FC11BDC67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24" y="5908127"/>
              <a:ext cx="1529318" cy="467170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  <p:sldLayoutId id="2147485515" r:id="rId24"/>
    <p:sldLayoutId id="2147485516" r:id="rId25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10919884" y="6323014"/>
            <a:ext cx="465667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11394017" y="6146800"/>
            <a:ext cx="328083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2" y="301625"/>
            <a:ext cx="11281833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1" y="1697039"/>
            <a:ext cx="11305116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11578167" y="6207125"/>
            <a:ext cx="1847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88485" y="6356351"/>
            <a:ext cx="842695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700416" y="6345642"/>
            <a:ext cx="1970116" cy="38654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871538"/>
            <a:ext cx="103632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797300" y="6356351"/>
            <a:ext cx="74676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912284" y="6329364"/>
            <a:ext cx="28448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61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7" r:id="rId1"/>
    <p:sldLayoutId id="2147485448" r:id="rId2"/>
    <p:sldLayoutId id="2147485449" r:id="rId3"/>
    <p:sldLayoutId id="2147485451" r:id="rId4"/>
    <p:sldLayoutId id="2147485454" r:id="rId5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10919884" y="6323014"/>
            <a:ext cx="465667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11394017" y="6146800"/>
            <a:ext cx="328083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2" y="301625"/>
            <a:ext cx="11281833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1" y="1697039"/>
            <a:ext cx="11305116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11578167" y="6207125"/>
            <a:ext cx="1847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600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88485" y="6356351"/>
            <a:ext cx="78867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052" y="6350408"/>
            <a:ext cx="2624032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63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7" r:id="rId1"/>
    <p:sldLayoutId id="2147485458" r:id="rId2"/>
    <p:sldLayoutId id="2147485459" r:id="rId3"/>
    <p:sldLayoutId id="2147485460" r:id="rId4"/>
    <p:sldLayoutId id="2147485461" r:id="rId5"/>
    <p:sldLayoutId id="2147485462" r:id="rId6"/>
    <p:sldLayoutId id="2147485463" r:id="rId7"/>
    <p:sldLayoutId id="2147485464" r:id="rId8"/>
    <p:sldLayoutId id="2147485465" r:id="rId9"/>
    <p:sldLayoutId id="2147485466" r:id="rId10"/>
    <p:sldLayoutId id="2147485467" r:id="rId11"/>
    <p:sldLayoutId id="2147485468" r:id="rId12"/>
    <p:sldLayoutId id="2147485469" r:id="rId13"/>
    <p:sldLayoutId id="2147485470" r:id="rId14"/>
    <p:sldLayoutId id="2147485471" r:id="rId15"/>
    <p:sldLayoutId id="2147485472" r:id="rId16"/>
    <p:sldLayoutId id="2147485473" r:id="rId17"/>
    <p:sldLayoutId id="2147485474" r:id="rId18"/>
    <p:sldLayoutId id="2147485475" r:id="rId19"/>
    <p:sldLayoutId id="2147485476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10919884" y="6323014"/>
            <a:ext cx="465667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11394017" y="6146800"/>
            <a:ext cx="328083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 sz="1600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2" y="301625"/>
            <a:ext cx="11281833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1" y="1697039"/>
            <a:ext cx="11305116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11578167" y="6207125"/>
            <a:ext cx="18473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6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80484" y="6356351"/>
            <a:ext cx="423333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88485" y="6356351"/>
            <a:ext cx="8692228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811251" y="6311900"/>
            <a:ext cx="1970116" cy="38654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613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  <p:sldLayoutId id="2147485503" r:id="rId13"/>
    <p:sldLayoutId id="2147485504" r:id="rId14"/>
    <p:sldLayoutId id="2147485505" r:id="rId15"/>
    <p:sldLayoutId id="2147485506" r:id="rId16"/>
    <p:sldLayoutId id="2147485507" r:id="rId17"/>
    <p:sldLayoutId id="2147485508" r:id="rId18"/>
    <p:sldLayoutId id="2147485509" r:id="rId19"/>
    <p:sldLayoutId id="2147485510" r:id="rId20"/>
    <p:sldLayoutId id="2147485511" r:id="rId21"/>
    <p:sldLayoutId id="2147485512" r:id="rId22"/>
    <p:sldLayoutId id="2147485513" r:id="rId23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43891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r="26016" b="50350"/>
          <a:stretch/>
        </p:blipFill>
        <p:spPr>
          <a:xfrm>
            <a:off x="10390215" y="162735"/>
            <a:ext cx="1571513" cy="98745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" y="2900899"/>
            <a:ext cx="8070573" cy="830997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800" b="0" kern="0" dirty="0">
                <a:solidFill>
                  <a:schemeClr val="bg1"/>
                </a:solidFill>
                <a:latin typeface="Calibri" panose="020F0502020204030204" pitchFamily="34" charset="0"/>
              </a:rPr>
              <a:t>&lt;Country Name&gt; Action Plan</a:t>
            </a:r>
            <a:endParaRPr lang="en-US" sz="3200" b="0" kern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8E7D85F-6DFB-4884-AE12-4936E92DCA92}"/>
              </a:ext>
            </a:extLst>
          </p:cNvPr>
          <p:cNvSpPr/>
          <p:nvPr/>
        </p:nvSpPr>
        <p:spPr>
          <a:xfrm>
            <a:off x="3171909" y="4735175"/>
            <a:ext cx="85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400" b="0" kern="0" dirty="0">
                <a:solidFill>
                  <a:srgbClr val="002060"/>
                </a:solidFill>
                <a:latin typeface="Calibri" panose="020F0502020204030204" pitchFamily="34" charset="0"/>
              </a:rPr>
              <a:t>Technical Deep Dive on Aging Cities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400" b="0" kern="0" dirty="0">
                <a:solidFill>
                  <a:srgbClr val="002060"/>
                </a:solidFill>
                <a:latin typeface="Calibri" panose="020F0502020204030204" pitchFamily="34" charset="0"/>
              </a:rPr>
              <a:t>Tokyo and Toyama, Japan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2400" b="0" kern="0" dirty="0">
                <a:solidFill>
                  <a:srgbClr val="002060"/>
                </a:solidFill>
                <a:latin typeface="Calibri" panose="020F0502020204030204" pitchFamily="34" charset="0"/>
              </a:rPr>
              <a:t>May 21 to 25, 2018</a:t>
            </a:r>
          </a:p>
        </p:txBody>
      </p:sp>
    </p:spTree>
    <p:extLst>
      <p:ext uri="{BB962C8B-B14F-4D97-AF65-F5344CB8AC3E}">
        <p14:creationId xmlns:p14="http://schemas.microsoft.com/office/powerpoint/2010/main" val="226781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480484" y="6356351"/>
            <a:ext cx="96900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Key Takeaways from TD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662296" y="1559892"/>
            <a:ext cx="10727947" cy="460086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Key Takeaway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297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4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8571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4EB3AA1-939D-4B5B-8C58-E68AB54D22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6707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1007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480484" y="6356351"/>
            <a:ext cx="96900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Implication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548811" y="1559891"/>
            <a:ext cx="8440305" cy="4600863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Implication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Implication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Implication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Implication&gt;</a:t>
            </a:r>
          </a:p>
          <a:p>
            <a:pPr marL="0" indent="0">
              <a:spcAft>
                <a:spcPts val="600"/>
              </a:spcAft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EA726D0-43FD-49CC-80D2-7FF3D93D33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297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0182008-1ED5-4891-A2CC-A81351893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434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EBB90E6-827A-4548-9D2F-4D887081AD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8571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D15B290-4CF6-4DE5-8CEA-AC027679E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6707" y="4676512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3747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480484" y="6356351"/>
            <a:ext cx="96900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tions to be Take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80484" y="1493631"/>
            <a:ext cx="11108542" cy="4600863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Short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Medium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Long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2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480484" y="6356351"/>
            <a:ext cx="96900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Lending and TA Active or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535559" y="1506884"/>
            <a:ext cx="8440305" cy="4600863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b="1" u="sng" dirty="0">
                <a:latin typeface="+mn-lt"/>
              </a:rPr>
              <a:t>Technical Assistance Work Planned</a:t>
            </a:r>
            <a:r>
              <a:rPr lang="en-US" b="1" u="sng" dirty="0">
                <a:latin typeface="+mn-lt"/>
              </a:rPr>
              <a:t>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TA component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TA component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TA component&gt; &lt;Cost Estimates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Investment Work Planned: 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Goods/ Works/ Services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Goods/ Works/ Services&gt; &lt;Cost Estimates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ja-JP" dirty="0"/>
              <a:t>&lt;Goods/ Works/ Services&gt; &lt;Cost Estimates&gt;</a:t>
            </a:r>
          </a:p>
        </p:txBody>
      </p:sp>
    </p:spTree>
    <p:extLst>
      <p:ext uri="{BB962C8B-B14F-4D97-AF65-F5344CB8AC3E}">
        <p14:creationId xmlns:p14="http://schemas.microsoft.com/office/powerpoint/2010/main" val="158070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480484" y="6356351"/>
            <a:ext cx="969009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Support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475913" y="1335882"/>
            <a:ext cx="8440305" cy="4742920"/>
          </a:xfrm>
        </p:spPr>
        <p:txBody>
          <a:bodyPr>
            <a:norm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World Bank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TDLC Program (Japan)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Knowledge Products (Case Studies,  Policy Notes, etc.)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78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26206</TotalTime>
  <Words>268</Words>
  <Application>Microsoft Office PowerPoint</Application>
  <PresentationFormat>Widescreen</PresentationFormat>
  <Paragraphs>50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3" baseType="lpstr">
      <vt:lpstr>ＭＳ Ｐゴシック</vt:lpstr>
      <vt:lpstr>ＭＳ Ｐゴシック</vt:lpstr>
      <vt:lpstr>ＭＳ 明朝</vt:lpstr>
      <vt:lpstr>Andes ExtraLight</vt:lpstr>
      <vt:lpstr>Arial</vt:lpstr>
      <vt:lpstr>Arial Bold</vt:lpstr>
      <vt:lpstr>Calibri</vt:lpstr>
      <vt:lpstr>Times New Roman</vt:lpstr>
      <vt:lpstr>Trebuchet MS</vt:lpstr>
      <vt:lpstr>Wingdings</vt:lpstr>
      <vt:lpstr>WBG-Any_Logo</vt:lpstr>
      <vt:lpstr>Full Page Interior</vt:lpstr>
      <vt:lpstr>1_Full Page Interior</vt:lpstr>
      <vt:lpstr>1_WBG-Any_Logo</vt:lpstr>
      <vt:lpstr>2_Full Page Interior</vt:lpstr>
      <vt:lpstr>3_Full Page Interior</vt:lpstr>
      <vt:lpstr>think-cell Slide</vt:lpstr>
      <vt:lpstr>PowerPoint Presentation</vt:lpstr>
      <vt:lpstr>&lt;Country&gt; Key Takeaways from TDD</vt:lpstr>
      <vt:lpstr>&lt;Country&gt; Implications</vt:lpstr>
      <vt:lpstr>&lt;Country&gt; Actions to be Taken</vt:lpstr>
      <vt:lpstr>&lt;Country&gt; Lending and TA Active or Needed</vt:lpstr>
      <vt:lpstr>&lt;Country&gt; Support Need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16 TDLC Steering Committee</dc:title>
  <dc:creator>Daniel Levine</dc:creator>
  <cp:lastModifiedBy>Haruka Imoto</cp:lastModifiedBy>
  <cp:revision>483</cp:revision>
  <cp:lastPrinted>2017-06-13T05:50:10Z</cp:lastPrinted>
  <dcterms:created xsi:type="dcterms:W3CDTF">2014-09-04T17:37:55Z</dcterms:created>
  <dcterms:modified xsi:type="dcterms:W3CDTF">2018-05-18T09:38:03Z</dcterms:modified>
</cp:coreProperties>
</file>